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  <p:sldId id="260" r:id="rId6"/>
    <p:sldId id="261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59" y="2166364"/>
            <a:ext cx="11471565" cy="1739347"/>
          </a:xfrm>
        </p:spPr>
        <p:txBody>
          <a:bodyPr tIns="45720" bIns="45720" anchor="ctr">
            <a:normAutofit/>
          </a:bodyPr>
          <a:lstStyle>
            <a:lvl1pPr algn="ctr">
              <a:lnSpc>
                <a:spcPct val="80000"/>
              </a:lnSpc>
              <a:defRPr sz="6000" spc="15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996250"/>
            <a:ext cx="9144000" cy="130925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20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2761-D360-4310-805E-8442D187200A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8733B-2BEE-4602-986A-6C412523B0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6244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2761-D360-4310-805E-8442D187200A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8733B-2BEE-4602-986A-6C412523B0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8526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019312" y="0"/>
            <a:ext cx="27432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0624" y="274638"/>
            <a:ext cx="2402380" cy="58975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199" y="274638"/>
            <a:ext cx="7973291" cy="58975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22854"/>
            <a:ext cx="2743196" cy="365125"/>
          </a:xfrm>
        </p:spPr>
        <p:txBody>
          <a:bodyPr/>
          <a:lstStyle/>
          <a:p>
            <a:fld id="{DF8A2761-D360-4310-805E-8442D187200A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76135" y="6422854"/>
            <a:ext cx="4279669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73048" y="6422854"/>
            <a:ext cx="879759" cy="365125"/>
          </a:xfrm>
        </p:spPr>
        <p:txBody>
          <a:bodyPr/>
          <a:lstStyle/>
          <a:p>
            <a:fld id="{5168733B-2BEE-4602-986A-6C412523B0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602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2761-D360-4310-805E-8442D187200A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8733B-2BEE-4602-986A-6C412523B0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9329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191" y="2208879"/>
            <a:ext cx="10515600" cy="1676400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6000" b="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3191" y="4010334"/>
            <a:ext cx="10515600" cy="1174639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F8A2761-D360-4310-805E-8442D187200A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168733B-2BEE-4602-986A-6C412523B0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112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05344" y="2011680"/>
            <a:ext cx="4754880" cy="420624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0391" y="2011680"/>
            <a:ext cx="4754880" cy="420624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2761-D360-4310-805E-8442D187200A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8733B-2BEE-4602-986A-6C412523B0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6390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7008" y="1913470"/>
            <a:ext cx="4754880" cy="743094"/>
          </a:xfrm>
        </p:spPr>
        <p:txBody>
          <a:bodyPr anchor="ctr">
            <a:normAutofit/>
          </a:bodyPr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07008" y="2656566"/>
            <a:ext cx="4754880" cy="35661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31230" y="1913470"/>
            <a:ext cx="4754880" cy="743094"/>
          </a:xfrm>
        </p:spPr>
        <p:txBody>
          <a:bodyPr anchor="ctr">
            <a:normAutofit/>
          </a:bodyPr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31230" y="2656564"/>
            <a:ext cx="4754880" cy="35661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2761-D360-4310-805E-8442D187200A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8733B-2BEE-4602-986A-6C412523B0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0920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2761-D360-4310-805E-8442D187200A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8733B-2BEE-4602-986A-6C412523B0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934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2761-D360-4310-805E-8442D187200A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8733B-2BEE-4602-986A-6C412523B0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646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07008" y="2120054"/>
            <a:ext cx="6126480" cy="4114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89023" y="2147486"/>
            <a:ext cx="3200400" cy="3432319"/>
          </a:xfrm>
        </p:spPr>
        <p:txBody>
          <a:bodyPr>
            <a:normAutofit/>
          </a:bodyPr>
          <a:lstStyle>
            <a:lvl1pPr marL="0" indent="0">
              <a:lnSpc>
                <a:spcPct val="95000"/>
              </a:lnSpc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2761-D360-4310-805E-8442D187200A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8733B-2BEE-4602-986A-6C412523B0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0916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80160" y="2211494"/>
            <a:ext cx="6126480" cy="3931920"/>
          </a:xfrm>
          <a:solidFill>
            <a:schemeClr val="tx2">
              <a:lumMod val="60000"/>
              <a:lumOff val="40000"/>
            </a:schemeClr>
          </a:solidFill>
        </p:spPr>
        <p:txBody>
          <a:bodyPr tIns="365760" anchor="t"/>
          <a:lstStyle>
            <a:lvl1pPr marL="0" indent="0" algn="ctr">
              <a:buNone/>
              <a:defRPr sz="3200">
                <a:solidFill>
                  <a:schemeClr val="tx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90688" y="2150621"/>
            <a:ext cx="3200400" cy="3429000"/>
          </a:xfrm>
        </p:spPr>
        <p:txBody>
          <a:bodyPr>
            <a:normAutofit/>
          </a:bodyPr>
          <a:lstStyle>
            <a:lvl1pPr marL="0" indent="0">
              <a:lnSpc>
                <a:spcPct val="95000"/>
              </a:lnSpc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2761-D360-4310-805E-8442D187200A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8733B-2BEE-4602-986A-6C412523B0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12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6C1EA9B-5B47-490F-A1E9-F98CB59203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26932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0B0F113-E6BC-4F12-A0DC-D22AC24E5107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83" y="176109"/>
            <a:ext cx="12188952" cy="16459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02919" y="284176"/>
            <a:ext cx="9784080" cy="15087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2919" y="2011680"/>
            <a:ext cx="9784080" cy="4206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02266" y="6422854"/>
            <a:ext cx="3000894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l">
              <a:defRPr sz="1050">
                <a:solidFill>
                  <a:schemeClr val="tx1"/>
                </a:solidFill>
              </a:defRPr>
            </a:lvl1pPr>
          </a:lstStyle>
          <a:p>
            <a:fld id="{DF8A2761-D360-4310-805E-8442D187200A}" type="datetimeFigureOut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96471" y="6422854"/>
            <a:ext cx="50444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58927" y="6422854"/>
            <a:ext cx="946264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fld id="{5168733B-2BEE-4602-986A-6C412523B0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9950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0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tx1"/>
        </a:buClr>
        <a:buFont typeface="Wingdings" pitchFamily="2" charset="2"/>
        <a:buChar char="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00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686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2846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718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9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8062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hyperlink" Target="https://geo.nyu.edu/catalog/nyu_2451_34572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8D56C1-7D64-450D-B790-37144F3926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153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E9256E5-C941-4951-A98F-D1A4AA989A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600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3AEBDD-A25A-4A44-AD25-EC2C71047E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ES" dirty="0"/>
              <a:t>Coursera </a:t>
            </a:r>
            <a:r>
              <a:rPr lang="es-ES" dirty="0" err="1"/>
              <a:t>capstone</a:t>
            </a:r>
            <a:r>
              <a:rPr lang="es-ES" dirty="0"/>
              <a:t> </a:t>
            </a:r>
            <a:r>
              <a:rPr lang="es-ES" dirty="0" err="1"/>
              <a:t>project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206013-831E-4D2D-AE3E-F65CE64C55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ES" dirty="0" err="1"/>
              <a:t>Finding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right</a:t>
            </a:r>
            <a:r>
              <a:rPr lang="es-ES" dirty="0"/>
              <a:t> </a:t>
            </a:r>
            <a:r>
              <a:rPr lang="es-ES" dirty="0" err="1"/>
              <a:t>neighborhood</a:t>
            </a:r>
            <a:r>
              <a:rPr lang="es-ES" dirty="0"/>
              <a:t> in Brookly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361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BC34112-B44C-4EC0-9A49-0B39B06775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44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63F66D-6ED4-42BA-968C-F10B3974E6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976BAD-CFDE-46A0-A185-A19E6AEDA8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u="sng" dirty="0"/>
              <a:t>Goal</a:t>
            </a:r>
            <a:r>
              <a:rPr lang="en-US" dirty="0"/>
              <a:t>: find the perfect location to live in </a:t>
            </a:r>
            <a:r>
              <a:rPr lang="en-US" dirty="0" err="1"/>
              <a:t>brookly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3B69C3-9CD4-4D70-88A8-F857873CF8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When moving to a new city, one faces several challenges like selecting the perfect location to stay and which neighborhoods are good for living</a:t>
            </a:r>
          </a:p>
          <a:p>
            <a:r>
              <a:rPr lang="en-US" sz="2400" dirty="0"/>
              <a:t>What neighborhoods are similar and what kind of venues can be found in each location in Brooklyn?</a:t>
            </a:r>
          </a:p>
          <a:p>
            <a:r>
              <a:rPr lang="en-US" sz="2400" dirty="0"/>
              <a:t>This project intends to cluster the neighborhoods in Brooklyn according to their characteristics in order to give the best recommendation</a:t>
            </a:r>
          </a:p>
          <a:p>
            <a:r>
              <a:rPr lang="en-US" sz="2400" dirty="0"/>
              <a:t>It can also be used in the future by any other person interested in moving to a new city without having enough information about the different neighborhoods</a:t>
            </a:r>
          </a:p>
        </p:txBody>
      </p:sp>
    </p:spTree>
    <p:extLst>
      <p:ext uri="{BB962C8B-B14F-4D97-AF65-F5344CB8AC3E}">
        <p14:creationId xmlns:p14="http://schemas.microsoft.com/office/powerpoint/2010/main" val="1502972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E070F74-825F-4819-B4A0-9F26DFF160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6285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8828CFD-830C-4715-A354-66CE5EEAE0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400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AE6088-AB3D-44D1-8207-163947563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u="sng" dirty="0"/>
              <a:t>Data </a:t>
            </a:r>
            <a:r>
              <a:rPr lang="es-ES" b="1" u="sng" dirty="0" err="1"/>
              <a:t>acqusition</a:t>
            </a:r>
            <a:r>
              <a:rPr lang="es-ES" dirty="0"/>
              <a:t>: </a:t>
            </a:r>
            <a:r>
              <a:rPr lang="es-ES" dirty="0" err="1"/>
              <a:t>two</a:t>
            </a:r>
            <a:r>
              <a:rPr lang="es-ES" dirty="0"/>
              <a:t> </a:t>
            </a:r>
            <a:r>
              <a:rPr lang="es-ES" dirty="0" err="1"/>
              <a:t>different</a:t>
            </a:r>
            <a:r>
              <a:rPr lang="es-ES" dirty="0"/>
              <a:t> data </a:t>
            </a:r>
            <a:r>
              <a:rPr lang="es-ES" dirty="0" err="1"/>
              <a:t>sources</a:t>
            </a:r>
            <a:r>
              <a:rPr lang="es-ES" dirty="0"/>
              <a:t> Will be </a:t>
            </a:r>
            <a:r>
              <a:rPr lang="es-ES" dirty="0" err="1"/>
              <a:t>use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304186-EC26-4A9A-83E2-EEB18472EF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Dataset containing information about the different neighborhoods that exist in each borough in New York as well as the </a:t>
            </a:r>
            <a:r>
              <a:rPr lang="en-US" sz="2400" dirty="0" err="1"/>
              <a:t>the</a:t>
            </a:r>
            <a:r>
              <a:rPr lang="en-US" sz="2400" dirty="0"/>
              <a:t> latitude and longitude coordinates of each neighborhoo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200" dirty="0"/>
              <a:t> </a:t>
            </a:r>
            <a:r>
              <a:rPr lang="en-US" sz="2200" dirty="0">
                <a:hlinkClick r:id="rId7"/>
              </a:rPr>
              <a:t>https://geo.nyu.edu/catalog/nyu_2451_34572</a:t>
            </a:r>
            <a:endParaRPr lang="en-US" sz="2200" dirty="0"/>
          </a:p>
          <a:p>
            <a:pPr marL="228600" lvl="1" indent="0">
              <a:buNone/>
            </a:pPr>
            <a:endParaRPr lang="en-US" sz="22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Information of the different venues that exist in each neighborhoo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200" dirty="0"/>
              <a:t>Foursquare API</a:t>
            </a:r>
          </a:p>
        </p:txBody>
      </p:sp>
    </p:spTree>
    <p:extLst>
      <p:ext uri="{BB962C8B-B14F-4D97-AF65-F5344CB8AC3E}">
        <p14:creationId xmlns:p14="http://schemas.microsoft.com/office/powerpoint/2010/main" val="21701068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43E3C6-0C15-4167-8188-ECDD4A95D9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626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0C8B5B7-C255-45CE-9334-CE209513CF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360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BB1CF2-48D5-4322-9AF0-AC69F511E1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b="1" u="sng" dirty="0" err="1"/>
              <a:t>Methodology</a:t>
            </a:r>
            <a:r>
              <a:rPr lang="es-ES" dirty="0"/>
              <a:t>: After </a:t>
            </a:r>
            <a:r>
              <a:rPr lang="es-ES" dirty="0" err="1"/>
              <a:t>the</a:t>
            </a:r>
            <a:r>
              <a:rPr lang="es-ES" dirty="0"/>
              <a:t> data </a:t>
            </a:r>
            <a:r>
              <a:rPr lang="es-ES" dirty="0" err="1"/>
              <a:t>preparation</a:t>
            </a:r>
            <a:r>
              <a:rPr lang="es-ES" dirty="0"/>
              <a:t> K-</a:t>
            </a:r>
            <a:r>
              <a:rPr lang="es-ES" dirty="0" err="1"/>
              <a:t>means</a:t>
            </a:r>
            <a:r>
              <a:rPr lang="es-ES" dirty="0"/>
              <a:t> </a:t>
            </a:r>
            <a:r>
              <a:rPr lang="es-ES" dirty="0" err="1"/>
              <a:t>clustering</a:t>
            </a:r>
            <a:r>
              <a:rPr lang="es-ES" dirty="0"/>
              <a:t> </a:t>
            </a:r>
            <a:r>
              <a:rPr lang="es-ES" dirty="0" err="1"/>
              <a:t>is</a:t>
            </a:r>
            <a:r>
              <a:rPr lang="es-ES" dirty="0"/>
              <a:t> </a:t>
            </a:r>
            <a:r>
              <a:rPr lang="es-ES" dirty="0" err="1"/>
              <a:t>used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obtai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group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similar </a:t>
            </a:r>
            <a:r>
              <a:rPr lang="es-ES" dirty="0" err="1"/>
              <a:t>are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D02BB0-558F-4353-A29C-C1A2B0A5FD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2919" y="2011679"/>
            <a:ext cx="9784080" cy="4474845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s-ES" dirty="0"/>
              <a:t>Data </a:t>
            </a:r>
            <a:r>
              <a:rPr lang="es-ES" dirty="0" err="1"/>
              <a:t>Preparation</a:t>
            </a:r>
            <a:r>
              <a:rPr lang="es-ES" dirty="0"/>
              <a:t>:</a:t>
            </a:r>
          </a:p>
          <a:p>
            <a:pPr marL="685800" lvl="1" indent="-457200">
              <a:buFont typeface="+mj-lt"/>
              <a:buAutoNum type="alphaLcPeriod"/>
            </a:pPr>
            <a:r>
              <a:rPr lang="en-US" dirty="0"/>
              <a:t>Transform the dataset into a </a:t>
            </a:r>
            <a:r>
              <a:rPr lang="en-US" i="1" dirty="0"/>
              <a:t>pandas</a:t>
            </a:r>
            <a:r>
              <a:rPr lang="en-US" dirty="0"/>
              <a:t> </a:t>
            </a:r>
            <a:r>
              <a:rPr lang="en-US" dirty="0" err="1"/>
              <a:t>dataframe</a:t>
            </a:r>
            <a:r>
              <a:rPr lang="en-US" dirty="0"/>
              <a:t> and complement it with the information of the longitude and latitude of the neighborhoods using </a:t>
            </a:r>
            <a:r>
              <a:rPr lang="en-US" i="1" dirty="0" err="1"/>
              <a:t>geopy</a:t>
            </a:r>
            <a:r>
              <a:rPr lang="en-US" i="1" dirty="0"/>
              <a:t> library</a:t>
            </a:r>
          </a:p>
          <a:p>
            <a:pPr marL="685800" lvl="1" indent="-457200">
              <a:buFont typeface="+mj-lt"/>
              <a:buAutoNum type="alphaLcPeriod"/>
            </a:pPr>
            <a:r>
              <a:rPr lang="en-US" dirty="0"/>
              <a:t>Filter only the neighborhoods in Brooklyn</a:t>
            </a:r>
          </a:p>
          <a:p>
            <a:pPr marL="685800" lvl="1" indent="-457200">
              <a:buFont typeface="+mj-lt"/>
              <a:buAutoNum type="alphaLcPeriod"/>
            </a:pPr>
            <a:r>
              <a:rPr lang="en-US" dirty="0"/>
              <a:t>Complement this data with the information about the existing venues in each area using Foursquare API</a:t>
            </a:r>
          </a:p>
          <a:p>
            <a:pPr marL="685800" lvl="1" indent="-457200">
              <a:buFont typeface="+mj-lt"/>
              <a:buAutoNum type="alphaLcPeriod"/>
            </a:pPr>
            <a:r>
              <a:rPr lang="en-US" dirty="0"/>
              <a:t>Analyze the unique values for the venues in each neighborhoods and preparation of the clustering process</a:t>
            </a:r>
          </a:p>
          <a:p>
            <a:pPr marL="685800" lvl="1" indent="-457200">
              <a:buFont typeface="+mj-lt"/>
              <a:buAutoNum type="alphaL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K-Means Clustering:</a:t>
            </a:r>
          </a:p>
          <a:p>
            <a:pPr marL="685800" lvl="1" indent="-457200">
              <a:buFont typeface="+mj-lt"/>
              <a:buAutoNum type="alphaLcPeriod"/>
            </a:pPr>
            <a:r>
              <a:rPr lang="en-US" dirty="0"/>
              <a:t>Fit K-Means</a:t>
            </a:r>
          </a:p>
          <a:p>
            <a:pPr marL="685800" lvl="1" indent="-457200">
              <a:buFont typeface="+mj-lt"/>
              <a:buAutoNum type="alphaLcPeriod"/>
            </a:pPr>
            <a:r>
              <a:rPr lang="en-US" dirty="0"/>
              <a:t>Examine the clusters and provide a recommendation according to the preferences of each client</a:t>
            </a:r>
          </a:p>
        </p:txBody>
      </p:sp>
    </p:spTree>
    <p:extLst>
      <p:ext uri="{BB962C8B-B14F-4D97-AF65-F5344CB8AC3E}">
        <p14:creationId xmlns:p14="http://schemas.microsoft.com/office/powerpoint/2010/main" val="10762988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3590C2-C723-46BB-ADB2-2F686E4A7E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109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1B087B2-A5F7-4F70-AC0A-E16ECE6365B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360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F0C4CE-7006-4F9D-A65D-948450755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b="1" u="sng" dirty="0"/>
              <a:t>RESULTS</a:t>
            </a:r>
            <a:r>
              <a:rPr lang="es-ES" dirty="0"/>
              <a:t>: </a:t>
            </a:r>
            <a:r>
              <a:rPr lang="es-ES" dirty="0" err="1"/>
              <a:t>five</a:t>
            </a:r>
            <a:r>
              <a:rPr lang="es-ES" dirty="0"/>
              <a:t> </a:t>
            </a:r>
            <a:r>
              <a:rPr lang="es-ES" dirty="0" err="1"/>
              <a:t>cluster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Neighbor-hood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different</a:t>
            </a:r>
            <a:r>
              <a:rPr lang="es-ES" dirty="0"/>
              <a:t> </a:t>
            </a:r>
            <a:r>
              <a:rPr lang="es-ES" dirty="0" err="1"/>
              <a:t>characteristics</a:t>
            </a:r>
            <a:r>
              <a:rPr lang="es-ES" dirty="0"/>
              <a:t> 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5359D2-6B7B-4B90-B0AB-5CBB8431A0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17156" y="2085975"/>
            <a:ext cx="4357688" cy="420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8854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37439BC-39A0-4635-938D-19BAE9A173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3662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B6D78AD-8DF6-4CB9-A6C7-ADC99A75C6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360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22ED47-0AD8-425E-A9F4-32269C194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3600" dirty="0" err="1"/>
              <a:t>Now</a:t>
            </a:r>
            <a:r>
              <a:rPr lang="es-ES" sz="3600" dirty="0"/>
              <a:t> </a:t>
            </a:r>
            <a:r>
              <a:rPr lang="es-ES" sz="3600" dirty="0" err="1"/>
              <a:t>anyone</a:t>
            </a:r>
            <a:r>
              <a:rPr lang="es-ES" sz="3600" dirty="0"/>
              <a:t> can </a:t>
            </a:r>
            <a:r>
              <a:rPr lang="es-ES" sz="3600" dirty="0" err="1"/>
              <a:t>choose</a:t>
            </a:r>
            <a:r>
              <a:rPr lang="es-ES" sz="3600" dirty="0"/>
              <a:t> </a:t>
            </a:r>
            <a:r>
              <a:rPr lang="es-ES" sz="3600" dirty="0" err="1"/>
              <a:t>between</a:t>
            </a:r>
            <a:r>
              <a:rPr lang="es-ES" sz="3600" dirty="0"/>
              <a:t> </a:t>
            </a:r>
            <a:r>
              <a:rPr lang="es-ES" sz="3600" dirty="0" err="1"/>
              <a:t>the</a:t>
            </a:r>
            <a:r>
              <a:rPr lang="es-ES" sz="3600" dirty="0"/>
              <a:t> </a:t>
            </a:r>
            <a:r>
              <a:rPr lang="es-ES" sz="3600" dirty="0" err="1"/>
              <a:t>defined</a:t>
            </a:r>
            <a:r>
              <a:rPr lang="es-ES" sz="3600" dirty="0"/>
              <a:t> </a:t>
            </a:r>
            <a:r>
              <a:rPr lang="es-ES" sz="3600" dirty="0" err="1"/>
              <a:t>clusters</a:t>
            </a:r>
            <a:r>
              <a:rPr lang="es-ES" sz="3600" dirty="0"/>
              <a:t> </a:t>
            </a:r>
            <a:r>
              <a:rPr lang="es-ES" sz="3600" dirty="0" err="1"/>
              <a:t>when</a:t>
            </a:r>
            <a:r>
              <a:rPr lang="es-ES" sz="3600" dirty="0"/>
              <a:t> </a:t>
            </a:r>
            <a:r>
              <a:rPr lang="es-ES" sz="3600" dirty="0" err="1"/>
              <a:t>looking</a:t>
            </a:r>
            <a:r>
              <a:rPr lang="es-ES" sz="3600" dirty="0"/>
              <a:t> </a:t>
            </a:r>
            <a:r>
              <a:rPr lang="es-ES" sz="3600" dirty="0" err="1"/>
              <a:t>for</a:t>
            </a:r>
            <a:r>
              <a:rPr lang="es-ES" sz="3600" dirty="0"/>
              <a:t> </a:t>
            </a:r>
            <a:r>
              <a:rPr lang="es-ES" sz="3600" dirty="0" err="1"/>
              <a:t>the</a:t>
            </a:r>
            <a:r>
              <a:rPr lang="es-ES" sz="3600" dirty="0"/>
              <a:t> </a:t>
            </a:r>
            <a:r>
              <a:rPr lang="es-ES" sz="3600" dirty="0" err="1"/>
              <a:t>perfect</a:t>
            </a:r>
            <a:r>
              <a:rPr lang="es-ES" sz="3600" dirty="0"/>
              <a:t> </a:t>
            </a:r>
            <a:r>
              <a:rPr lang="es-ES" sz="3600" dirty="0" err="1"/>
              <a:t>neighborhood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8097833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74VU7jkXFTYaEkjgFm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r0jiCEYPh_I2Lm5elY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Gi6gKrxIuabOYRP0t9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Hi0RDc68YzVMyqg8uY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SQN1S1yc.XHXXeZtP0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okY4NvBIPvGT8GI27l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0AWP7xDS_s4z9sCXi1Z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Banded">
  <a:themeElements>
    <a:clrScheme name="Banded">
      <a:dk1>
        <a:srgbClr val="2C2C2C"/>
      </a:dk1>
      <a:lt1>
        <a:srgbClr val="FFFFFF"/>
      </a:lt1>
      <a:dk2>
        <a:srgbClr val="099BDD"/>
      </a:dk2>
      <a:lt2>
        <a:srgbClr val="F2F2F2"/>
      </a:lt2>
      <a:accent1>
        <a:srgbClr val="FFC000"/>
      </a:accent1>
      <a:accent2>
        <a:srgbClr val="A5D028"/>
      </a:accent2>
      <a:accent3>
        <a:srgbClr val="08CC78"/>
      </a:accent3>
      <a:accent4>
        <a:srgbClr val="F24099"/>
      </a:accent4>
      <a:accent5>
        <a:srgbClr val="828288"/>
      </a:accent5>
      <a:accent6>
        <a:srgbClr val="F56617"/>
      </a:accent6>
      <a:hlink>
        <a:srgbClr val="005DBA"/>
      </a:hlink>
      <a:folHlink>
        <a:srgbClr val="6C606A"/>
      </a:folHlink>
    </a:clrScheme>
    <a:fontScheme name="Banded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nded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120000"/>
                <a:lumMod val="107000"/>
              </a:schemeClr>
            </a:gs>
            <a:gs pos="50000">
              <a:schemeClr val="phClr">
                <a:tint val="70000"/>
                <a:satMod val="124000"/>
                <a:lumMod val="103000"/>
              </a:schemeClr>
            </a:gs>
            <a:gs pos="100000">
              <a:schemeClr val="phClr">
                <a:tint val="85000"/>
                <a:satMod val="12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5000"/>
                <a:shade val="98000"/>
                <a:satMod val="110000"/>
                <a:lumMod val="103000"/>
              </a:schemeClr>
            </a:gs>
            <a:gs pos="50000">
              <a:schemeClr val="phClr">
                <a:shade val="85000"/>
                <a:satMod val="105000"/>
                <a:lumMod val="100000"/>
              </a:schemeClr>
            </a:gs>
            <a:gs pos="100000">
              <a:schemeClr val="phClr">
                <a:shade val="60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5875" dir="5400000" algn="ctr" rotWithShape="0">
              <a:srgbClr val="000000">
                <a:alpha val="68000"/>
              </a:srgbClr>
            </a:outerShdw>
          </a:effectLst>
        </a:effectStyle>
        <a:effectStyle>
          <a:effectLst>
            <a:outerShdw blurRad="88900" dist="2794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/>
              <a:schemeClr val="phClr">
                <a:shade val="91000"/>
                <a:satMod val="105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100000"/>
                <a:shade val="0"/>
                <a:satMod val="100000"/>
              </a:schemeClr>
            </a:gs>
            <a:gs pos="100000">
              <a:schemeClr val="phClr">
                <a:shade val="10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nded" id="{98DFF888-2449-4D28-977C-6306C017633E}" vid="{9792607F-9579-4224-82FF-9C88C3E1E53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090430[[fn=Banded]]</Template>
  <TotalTime>249</TotalTime>
  <Words>296</Words>
  <Application>Microsoft Office PowerPoint</Application>
  <PresentationFormat>Widescreen</PresentationFormat>
  <Paragraphs>2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orbel</vt:lpstr>
      <vt:lpstr>Wingdings</vt:lpstr>
      <vt:lpstr>Banded</vt:lpstr>
      <vt:lpstr>think-cell Slide</vt:lpstr>
      <vt:lpstr>Coursera capstone project</vt:lpstr>
      <vt:lpstr>Goal: find the perfect location to live in brooklyn</vt:lpstr>
      <vt:lpstr>Data acqusition: two different data sources Will be used</vt:lpstr>
      <vt:lpstr>Methodology: After the data preparation K-means clustering is used to obtain the groups of similar areas</vt:lpstr>
      <vt:lpstr>RESULTS: five clusters of Neighbor-hoods with different characteristics  </vt:lpstr>
      <vt:lpstr>Now anyone can choose between the defined clusters when looking for the perfect neighborhoo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ursera capstone project</dc:title>
  <dc:creator>Carlos de los Santos Escribano</dc:creator>
  <cp:lastModifiedBy>Carlos de los Santos Escribano</cp:lastModifiedBy>
  <cp:revision>6</cp:revision>
  <dcterms:created xsi:type="dcterms:W3CDTF">2020-08-13T09:11:15Z</dcterms:created>
  <dcterms:modified xsi:type="dcterms:W3CDTF">2020-08-13T13:20:20Z</dcterms:modified>
</cp:coreProperties>
</file>